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147472828" r:id="rId2"/>
    <p:sldId id="279" r:id="rId3"/>
    <p:sldId id="2147472826" r:id="rId4"/>
    <p:sldId id="2147472829" r:id="rId5"/>
  </p:sldIdLst>
  <p:sldSz cx="10688638" cy="7562850"/>
  <p:notesSz cx="6858000" cy="9144000"/>
  <p:custDataLst>
    <p:tags r:id="rId8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7480"/>
    <a:srgbClr val="FF21A5"/>
    <a:srgbClr val="2E2E38"/>
    <a:srgbClr val="FFE600"/>
    <a:srgbClr val="404040"/>
    <a:srgbClr val="000000"/>
    <a:srgbClr val="808080"/>
    <a:srgbClr val="58595B"/>
    <a:srgbClr val="336699"/>
    <a:srgbClr val="F04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2004B2-A181-401D-A007-12ED009C8299}" v="1" dt="2023-04-28T15:52:21.10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879" autoAdjust="0"/>
  </p:normalViewPr>
  <p:slideViewPr>
    <p:cSldViewPr snapToGrid="0" showGuides="1">
      <p:cViewPr>
        <p:scale>
          <a:sx n="82" d="100"/>
          <a:sy n="82" d="100"/>
        </p:scale>
        <p:origin x="40" y="-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3066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lm Cosgrove" userId="0af4958b-75f8-4af0-bf8c-2922543eff3b" providerId="ADAL" clId="{762004B2-A181-401D-A007-12ED009C8299}"/>
    <pc:docChg chg="custSel modSld">
      <pc:chgData name="Colm Cosgrove" userId="0af4958b-75f8-4af0-bf8c-2922543eff3b" providerId="ADAL" clId="{762004B2-A181-401D-A007-12ED009C8299}" dt="2023-04-28T15:52:24.684" v="4" actId="478"/>
      <pc:docMkLst>
        <pc:docMk/>
      </pc:docMkLst>
      <pc:sldChg chg="modSp mod">
        <pc:chgData name="Colm Cosgrove" userId="0af4958b-75f8-4af0-bf8c-2922543eff3b" providerId="ADAL" clId="{762004B2-A181-401D-A007-12ED009C8299}" dt="2023-04-28T15:52:04.493" v="2" actId="2"/>
        <pc:sldMkLst>
          <pc:docMk/>
          <pc:sldMk cId="121730881" sldId="279"/>
        </pc:sldMkLst>
        <pc:spChg chg="mod">
          <ac:chgData name="Colm Cosgrove" userId="0af4958b-75f8-4af0-bf8c-2922543eff3b" providerId="ADAL" clId="{762004B2-A181-401D-A007-12ED009C8299}" dt="2023-04-28T15:52:04.493" v="2" actId="2"/>
          <ac:spMkLst>
            <pc:docMk/>
            <pc:sldMk cId="121730881" sldId="279"/>
            <ac:spMk id="4" creationId="{B6D1187D-3BA6-43E8-91C3-EB49326B98D5}"/>
          </ac:spMkLst>
        </pc:spChg>
      </pc:sldChg>
      <pc:sldChg chg="delSp mod">
        <pc:chgData name="Colm Cosgrove" userId="0af4958b-75f8-4af0-bf8c-2922543eff3b" providerId="ADAL" clId="{762004B2-A181-401D-A007-12ED009C8299}" dt="2023-04-28T15:52:24.684" v="4" actId="478"/>
        <pc:sldMkLst>
          <pc:docMk/>
          <pc:sldMk cId="3130853867" sldId="2147472828"/>
        </pc:sldMkLst>
        <pc:spChg chg="del">
          <ac:chgData name="Colm Cosgrove" userId="0af4958b-75f8-4af0-bf8c-2922543eff3b" providerId="ADAL" clId="{762004B2-A181-401D-A007-12ED009C8299}" dt="2023-04-28T15:52:21.100" v="3" actId="478"/>
          <ac:spMkLst>
            <pc:docMk/>
            <pc:sldMk cId="3130853867" sldId="2147472828"/>
            <ac:spMk id="4" creationId="{0CC6CCB5-671B-46FA-9B3B-40A08DCCB1B0}"/>
          </ac:spMkLst>
        </pc:spChg>
        <pc:spChg chg="del">
          <ac:chgData name="Colm Cosgrove" userId="0af4958b-75f8-4af0-bf8c-2922543eff3b" providerId="ADAL" clId="{762004B2-A181-401D-A007-12ED009C8299}" dt="2023-04-28T15:52:24.684" v="4" actId="478"/>
          <ac:spMkLst>
            <pc:docMk/>
            <pc:sldMk cId="3130853867" sldId="2147472828"/>
            <ac:spMk id="5" creationId="{C7CA85CF-08AE-486C-BFA8-705B816D1A6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4FD87B-9828-443E-AF5F-E169552D9922}" type="datetimeFigureOut">
              <a:rPr lang="en-US" smtClean="0"/>
              <a:t>5/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704EC4-B608-4D8E-A7F2-026D157BEA4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0383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D7D830-554C-4D98-9B76-46C05EB06307}" type="datetimeFigureOut">
              <a:rPr lang="en-IE" smtClean="0"/>
              <a:t>04/05/2023</a:t>
            </a:fld>
            <a:endParaRPr lang="en-I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7775" y="1143000"/>
            <a:ext cx="43624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E3C5A8-6607-4ED2-9F55-831C5A43BDE5}" type="slidenum">
              <a:rPr lang="en-IE" smtClean="0"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0463461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7"/>
          <p:cNvSpPr>
            <a:spLocks/>
          </p:cNvSpPr>
          <p:nvPr userDrawn="1"/>
        </p:nvSpPr>
        <p:spPr bwMode="auto">
          <a:xfrm>
            <a:off x="426428" y="433385"/>
            <a:ext cx="3721100" cy="3136900"/>
          </a:xfrm>
          <a:custGeom>
            <a:avLst/>
            <a:gdLst>
              <a:gd name="T0" fmla="*/ 0 w 2344"/>
              <a:gd name="T1" fmla="*/ 414 h 1976"/>
              <a:gd name="T2" fmla="*/ 0 w 2344"/>
              <a:gd name="T3" fmla="*/ 1976 h 1976"/>
              <a:gd name="T4" fmla="*/ 2344 w 2344"/>
              <a:gd name="T5" fmla="*/ 1976 h 1976"/>
              <a:gd name="T6" fmla="*/ 2344 w 2344"/>
              <a:gd name="T7" fmla="*/ 0 h 1976"/>
              <a:gd name="T8" fmla="*/ 0 w 2344"/>
              <a:gd name="T9" fmla="*/ 414 h 19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4" h="1976">
                <a:moveTo>
                  <a:pt x="0" y="414"/>
                </a:moveTo>
                <a:lnTo>
                  <a:pt x="0" y="1976"/>
                </a:lnTo>
                <a:lnTo>
                  <a:pt x="2344" y="1976"/>
                </a:lnTo>
                <a:lnTo>
                  <a:pt x="2344" y="0"/>
                </a:lnTo>
                <a:lnTo>
                  <a:pt x="0" y="414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noProof="0" dirty="0"/>
          </a:p>
        </p:txBody>
      </p:sp>
      <p:sp>
        <p:nvSpPr>
          <p:cNvPr id="88071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618453" y="2049028"/>
            <a:ext cx="3384614" cy="920418"/>
          </a:xfrm>
        </p:spPr>
        <p:txBody>
          <a:bodyPr wrap="square">
            <a:noAutofit/>
          </a:bodyPr>
          <a:lstStyle>
            <a:lvl1pPr>
              <a:defRPr sz="18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IE" noProof="0" dirty="0"/>
          </a:p>
        </p:txBody>
      </p:sp>
      <p:sp>
        <p:nvSpPr>
          <p:cNvPr id="88070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8452" y="1227008"/>
            <a:ext cx="3379851" cy="658353"/>
          </a:xfrm>
        </p:spPr>
        <p:txBody>
          <a:bodyPr anchor="t">
            <a:noAutofit/>
          </a:bodyPr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IE" noProof="0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79715" y="5908236"/>
            <a:ext cx="1078992" cy="125726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u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5" y="709762"/>
            <a:ext cx="9778111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5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813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5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8"/>
          </p:nvPr>
        </p:nvSpPr>
        <p:spPr bwMode="gray">
          <a:xfrm>
            <a:off x="5408136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1420720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2609" userDrawn="1">
          <p15:clr>
            <a:srgbClr val="FBAE40"/>
          </p15:clr>
        </p15:guide>
        <p15:guide id="3" orient="horz" pos="930">
          <p15:clr>
            <a:srgbClr val="FBAE40"/>
          </p15:clr>
        </p15:guide>
        <p15:guide id="4" orient="horz" pos="2677" userDrawn="1">
          <p15:clr>
            <a:srgbClr val="FBAE40"/>
          </p15:clr>
        </p15:guide>
        <p15:guide id="5" orient="horz" pos="845">
          <p15:clr>
            <a:srgbClr val="FBAE40"/>
          </p15:clr>
        </p15:guide>
        <p15:guide id="6" pos="3323">
          <p15:clr>
            <a:srgbClr val="FBAE40"/>
          </p15:clr>
        </p15:guide>
        <p15:guide id="7" pos="341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xtu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4" y="709762"/>
            <a:ext cx="9778111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4" y="1475097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7064135" y="1475097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3759079" y="1475097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8" name="Content Placeholder 12"/>
          <p:cNvSpPr>
            <a:spLocks noGrp="1"/>
          </p:cNvSpPr>
          <p:nvPr>
            <p:ph sz="quarter" idx="18"/>
          </p:nvPr>
        </p:nvSpPr>
        <p:spPr bwMode="gray">
          <a:xfrm>
            <a:off x="454024" y="4262122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7064135" y="4262122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0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3759079" y="4262122"/>
            <a:ext cx="3168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037895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78" userDrawn="1">
          <p15:clr>
            <a:srgbClr val="FBAE40"/>
          </p15:clr>
        </p15:guide>
        <p15:guide id="2" orient="horz" pos="2609" userDrawn="1">
          <p15:clr>
            <a:srgbClr val="FBAE40"/>
          </p15:clr>
        </p15:guide>
        <p15:guide id="3" orient="horz" pos="930">
          <p15:clr>
            <a:srgbClr val="FBAE40"/>
          </p15:clr>
        </p15:guide>
        <p15:guide id="4" orient="horz" pos="2677" userDrawn="1">
          <p15:clr>
            <a:srgbClr val="FBAE40"/>
          </p15:clr>
        </p15:guide>
        <p15:guide id="5" orient="horz" pos="845">
          <p15:clr>
            <a:srgbClr val="FBAE40"/>
          </p15:clr>
        </p15:guide>
        <p15:guide id="6" pos="2346" userDrawn="1">
          <p15:clr>
            <a:srgbClr val="FBAE40"/>
          </p15:clr>
        </p15:guide>
        <p15:guide id="7" pos="4455" userDrawn="1">
          <p15:clr>
            <a:srgbClr val="FBAE40"/>
          </p15:clr>
        </p15:guide>
        <p15:guide id="8" pos="436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Content &amp; 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7"/>
            <a:ext cx="4824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813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8"/>
          </p:nvPr>
        </p:nvSpPr>
        <p:spPr bwMode="gray">
          <a:xfrm>
            <a:off x="5408136" y="4283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1807411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930">
          <p15:clr>
            <a:srgbClr val="FBAE40"/>
          </p15:clr>
        </p15:guide>
        <p15:guide id="3" pos="3323">
          <p15:clr>
            <a:srgbClr val="FBAE40"/>
          </p15:clr>
        </p15:guide>
        <p15:guide id="4" pos="3413">
          <p15:clr>
            <a:srgbClr val="FBAE40"/>
          </p15:clr>
        </p15:guide>
        <p15:guide id="5" orient="horz" pos="84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Double 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8136" y="1475098"/>
            <a:ext cx="4824000" cy="545102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6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62545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3">
          <p15:clr>
            <a:srgbClr val="FBAE40"/>
          </p15:clr>
        </p15:guide>
        <p15:guide id="2" pos="3413">
          <p15:clr>
            <a:srgbClr val="FBAE40"/>
          </p15:clr>
        </p15:guide>
        <p15:guide id="3" pos="3368">
          <p15:clr>
            <a:srgbClr val="FBAE40"/>
          </p15:clr>
        </p15:guide>
        <p15:guide id="4" orient="horz" pos="930">
          <p15:clr>
            <a:srgbClr val="FBAE40"/>
          </p15:clr>
        </p15:guide>
        <p15:guide id="5" orient="horz" pos="8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Content &amp; 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7"/>
            <a:ext cx="977811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6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8"/>
          </p:nvPr>
        </p:nvSpPr>
        <p:spPr bwMode="gray">
          <a:xfrm>
            <a:off x="5408136" y="4262122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2896058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930">
          <p15:clr>
            <a:srgbClr val="FBAE40"/>
          </p15:clr>
        </p15:guide>
        <p15:guide id="3" orient="horz" pos="2609" userDrawn="1">
          <p15:clr>
            <a:srgbClr val="FBAE40"/>
          </p15:clr>
        </p15:guide>
        <p15:guide id="4" pos="3323">
          <p15:clr>
            <a:srgbClr val="FBAE40"/>
          </p15:clr>
        </p15:guide>
        <p15:guide id="5" pos="3413">
          <p15:clr>
            <a:srgbClr val="FBAE40"/>
          </p15:clr>
        </p15:guide>
        <p15:guide id="6" orient="horz" pos="84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Double Conten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08136" y="1475097"/>
            <a:ext cx="482400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6" y="4262122"/>
            <a:ext cx="977811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780529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0">
          <p15:clr>
            <a:srgbClr val="FBAE40"/>
          </p15:clr>
        </p15:guide>
        <p15:guide id="2" pos="3368">
          <p15:clr>
            <a:srgbClr val="FBAE40"/>
          </p15:clr>
        </p15:guide>
        <p15:guide id="3" pos="3323">
          <p15:clr>
            <a:srgbClr val="FBAE40"/>
          </p15:clr>
        </p15:guide>
        <p15:guide id="4" pos="3413">
          <p15:clr>
            <a:srgbClr val="FBAE40"/>
          </p15:clr>
        </p15:guide>
        <p15:guide id="5" orient="horz" pos="84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6536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0">
          <p15:clr>
            <a:srgbClr val="FBAE40"/>
          </p15:clr>
        </p15:guide>
        <p15:guide id="2" orient="horz" pos="84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4339387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454025" y="783467"/>
            <a:ext cx="4638575" cy="4252213"/>
          </a:xfrm>
          <a:custGeom>
            <a:avLst/>
            <a:gdLst>
              <a:gd name="connsiteX0" fmla="*/ 0 w 10031"/>
              <a:gd name="connsiteY0" fmla="*/ 0 h 14589"/>
              <a:gd name="connsiteX1" fmla="*/ 31 w 10031"/>
              <a:gd name="connsiteY1" fmla="*/ 14589 h 14589"/>
              <a:gd name="connsiteX2" fmla="*/ 10031 w 10031"/>
              <a:gd name="connsiteY2" fmla="*/ 11790 h 14589"/>
              <a:gd name="connsiteX3" fmla="*/ 10031 w 10031"/>
              <a:gd name="connsiteY3" fmla="*/ 4589 h 14589"/>
              <a:gd name="connsiteX4" fmla="*/ 0 w 10031"/>
              <a:gd name="connsiteY4" fmla="*/ 0 h 14589"/>
              <a:gd name="connsiteX0" fmla="*/ 0 w 10031"/>
              <a:gd name="connsiteY0" fmla="*/ 0 h 14589"/>
              <a:gd name="connsiteX1" fmla="*/ 31 w 10031"/>
              <a:gd name="connsiteY1" fmla="*/ 14589 h 14589"/>
              <a:gd name="connsiteX2" fmla="*/ 10031 w 10031"/>
              <a:gd name="connsiteY2" fmla="*/ 11790 h 14589"/>
              <a:gd name="connsiteX3" fmla="*/ 10031 w 10031"/>
              <a:gd name="connsiteY3" fmla="*/ 0 h 14589"/>
              <a:gd name="connsiteX4" fmla="*/ 0 w 10031"/>
              <a:gd name="connsiteY4" fmla="*/ 0 h 14589"/>
              <a:gd name="connsiteX0" fmla="*/ 2 w 10033"/>
              <a:gd name="connsiteY0" fmla="*/ 0 h 14589"/>
              <a:gd name="connsiteX1" fmla="*/ 2 w 10033"/>
              <a:gd name="connsiteY1" fmla="*/ 14589 h 14589"/>
              <a:gd name="connsiteX2" fmla="*/ 10033 w 10033"/>
              <a:gd name="connsiteY2" fmla="*/ 11790 h 14589"/>
              <a:gd name="connsiteX3" fmla="*/ 10033 w 10033"/>
              <a:gd name="connsiteY3" fmla="*/ 0 h 14589"/>
              <a:gd name="connsiteX4" fmla="*/ 2 w 10033"/>
              <a:gd name="connsiteY4" fmla="*/ 0 h 14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33" h="14589">
                <a:moveTo>
                  <a:pt x="2" y="0"/>
                </a:moveTo>
                <a:cubicBezTo>
                  <a:pt x="12" y="4863"/>
                  <a:pt x="-8" y="9726"/>
                  <a:pt x="2" y="14589"/>
                </a:cubicBezTo>
                <a:lnTo>
                  <a:pt x="10033" y="11790"/>
                </a:lnTo>
                <a:lnTo>
                  <a:pt x="10033" y="0"/>
                </a:lnTo>
                <a:lnTo>
                  <a:pt x="2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399" tIns="45700" rIns="91399" bIns="45700" numCol="1" anchor="t" anchorCtr="0" compatLnSpc="1">
            <a:prstTxWarp prst="textNoShape">
              <a:avLst/>
            </a:prstTxWarp>
          </a:bodyPr>
          <a:lstStyle/>
          <a:p>
            <a:endParaRPr lang="en-IE" sz="1999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96971" y="1278269"/>
            <a:ext cx="3922253" cy="280180"/>
          </a:xfrm>
        </p:spPr>
        <p:txBody>
          <a:bodyPr wrap="none" anchor="ctr" anchorCtr="0"/>
          <a:lstStyle>
            <a:lvl1pPr>
              <a:defRPr lang="en-US" sz="1399" b="1" kern="1200" dirty="0" smtClean="0">
                <a:solidFill>
                  <a:srgbClr val="2E2E38"/>
                </a:solidFill>
                <a:latin typeface="EYInterstate Light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IE" noProof="0" dirty="0"/>
              <a:t>Section #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96971" y="1581482"/>
            <a:ext cx="3922253" cy="78121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lang="en-GB" sz="2999" b="1" kern="1200" dirty="0" smtClean="0">
                <a:solidFill>
                  <a:srgbClr val="2E2E38"/>
                </a:solidFill>
                <a:latin typeface="EYInterstate Light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IE" noProof="0" dirty="0"/>
              <a:t>Section</a:t>
            </a:r>
          </a:p>
        </p:txBody>
      </p:sp>
    </p:spTree>
    <p:extLst>
      <p:ext uri="{BB962C8B-B14F-4D97-AF65-F5344CB8AC3E}">
        <p14:creationId xmlns:p14="http://schemas.microsoft.com/office/powerpoint/2010/main" val="370193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7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459094" y="783466"/>
            <a:ext cx="3032898" cy="2771440"/>
          </a:xfrm>
          <a:custGeom>
            <a:avLst/>
            <a:gdLst>
              <a:gd name="connsiteX0" fmla="*/ 0 w 10031"/>
              <a:gd name="connsiteY0" fmla="*/ 0 h 14589"/>
              <a:gd name="connsiteX1" fmla="*/ 31 w 10031"/>
              <a:gd name="connsiteY1" fmla="*/ 14589 h 14589"/>
              <a:gd name="connsiteX2" fmla="*/ 10031 w 10031"/>
              <a:gd name="connsiteY2" fmla="*/ 11790 h 14589"/>
              <a:gd name="connsiteX3" fmla="*/ 10031 w 10031"/>
              <a:gd name="connsiteY3" fmla="*/ 4589 h 14589"/>
              <a:gd name="connsiteX4" fmla="*/ 0 w 10031"/>
              <a:gd name="connsiteY4" fmla="*/ 0 h 14589"/>
              <a:gd name="connsiteX0" fmla="*/ 0 w 10031"/>
              <a:gd name="connsiteY0" fmla="*/ 0 h 14589"/>
              <a:gd name="connsiteX1" fmla="*/ 31 w 10031"/>
              <a:gd name="connsiteY1" fmla="*/ 14589 h 14589"/>
              <a:gd name="connsiteX2" fmla="*/ 10031 w 10031"/>
              <a:gd name="connsiteY2" fmla="*/ 11790 h 14589"/>
              <a:gd name="connsiteX3" fmla="*/ 10031 w 10031"/>
              <a:gd name="connsiteY3" fmla="*/ 0 h 14589"/>
              <a:gd name="connsiteX4" fmla="*/ 0 w 10031"/>
              <a:gd name="connsiteY4" fmla="*/ 0 h 14589"/>
              <a:gd name="connsiteX0" fmla="*/ 33 w 10064"/>
              <a:gd name="connsiteY0" fmla="*/ 0 h 14589"/>
              <a:gd name="connsiteX1" fmla="*/ 1 w 10064"/>
              <a:gd name="connsiteY1" fmla="*/ 14589 h 14589"/>
              <a:gd name="connsiteX2" fmla="*/ 10064 w 10064"/>
              <a:gd name="connsiteY2" fmla="*/ 11790 h 14589"/>
              <a:gd name="connsiteX3" fmla="*/ 10064 w 10064"/>
              <a:gd name="connsiteY3" fmla="*/ 0 h 14589"/>
              <a:gd name="connsiteX4" fmla="*/ 33 w 10064"/>
              <a:gd name="connsiteY4" fmla="*/ 0 h 14589"/>
              <a:gd name="connsiteX0" fmla="*/ 2 w 10065"/>
              <a:gd name="connsiteY0" fmla="*/ 0 h 14589"/>
              <a:gd name="connsiteX1" fmla="*/ 2 w 10065"/>
              <a:gd name="connsiteY1" fmla="*/ 14589 h 14589"/>
              <a:gd name="connsiteX2" fmla="*/ 10065 w 10065"/>
              <a:gd name="connsiteY2" fmla="*/ 11790 h 14589"/>
              <a:gd name="connsiteX3" fmla="*/ 10065 w 10065"/>
              <a:gd name="connsiteY3" fmla="*/ 0 h 14589"/>
              <a:gd name="connsiteX4" fmla="*/ 2 w 10065"/>
              <a:gd name="connsiteY4" fmla="*/ 0 h 14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65" h="14589">
                <a:moveTo>
                  <a:pt x="2" y="0"/>
                </a:moveTo>
                <a:cubicBezTo>
                  <a:pt x="12" y="4863"/>
                  <a:pt x="-8" y="9726"/>
                  <a:pt x="2" y="14589"/>
                </a:cubicBezTo>
                <a:lnTo>
                  <a:pt x="10065" y="11790"/>
                </a:lnTo>
                <a:lnTo>
                  <a:pt x="10065" y="0"/>
                </a:lnTo>
                <a:lnTo>
                  <a:pt x="2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399" tIns="45700" rIns="91399" bIns="45700" numCol="1" anchor="t" anchorCtr="0" compatLnSpc="1">
            <a:prstTxWarp prst="textNoShape">
              <a:avLst/>
            </a:prstTxWarp>
          </a:bodyPr>
          <a:lstStyle/>
          <a:p>
            <a:endParaRPr lang="en-IE" sz="1999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63571" y="1277995"/>
            <a:ext cx="2384982" cy="1172974"/>
          </a:xfrm>
        </p:spPr>
        <p:txBody>
          <a:bodyPr wrap="none" anchor="t" anchorCtr="0"/>
          <a:lstStyle>
            <a:lvl1pPr>
              <a:defRPr lang="en-US" sz="1399" b="1" kern="1200" dirty="0" smtClean="0">
                <a:solidFill>
                  <a:srgbClr val="2E2E38"/>
                </a:solidFill>
                <a:latin typeface="EYInterstate Light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IE" noProof="0" dirty="0"/>
              <a:t>Section #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797196" y="1155897"/>
            <a:ext cx="2518878" cy="78121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lang="en-GB" sz="2999" b="1" kern="1200" dirty="0" smtClean="0">
                <a:solidFill>
                  <a:srgbClr val="747480"/>
                </a:solidFill>
                <a:latin typeface="EYInterstate Light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IE" noProof="0" dirty="0"/>
              <a:t>Section</a:t>
            </a:r>
          </a:p>
        </p:txBody>
      </p:sp>
    </p:spTree>
    <p:extLst>
      <p:ext uri="{BB962C8B-B14F-4D97-AF65-F5344CB8AC3E}">
        <p14:creationId xmlns:p14="http://schemas.microsoft.com/office/powerpoint/2010/main" val="1229316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7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438148" y="434340"/>
            <a:ext cx="3721100" cy="4381500"/>
          </a:xfrm>
          <a:custGeom>
            <a:avLst/>
            <a:gdLst>
              <a:gd name="T0" fmla="*/ 0 w 2344"/>
              <a:gd name="T1" fmla="*/ 414 h 2760"/>
              <a:gd name="T2" fmla="*/ 0 w 2344"/>
              <a:gd name="T3" fmla="*/ 2760 h 2760"/>
              <a:gd name="T4" fmla="*/ 2344 w 2344"/>
              <a:gd name="T5" fmla="*/ 2760 h 2760"/>
              <a:gd name="T6" fmla="*/ 2344 w 2344"/>
              <a:gd name="T7" fmla="*/ 0 h 2760"/>
              <a:gd name="T8" fmla="*/ 0 w 2344"/>
              <a:gd name="T9" fmla="*/ 414 h 2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4" h="2760">
                <a:moveTo>
                  <a:pt x="0" y="414"/>
                </a:moveTo>
                <a:lnTo>
                  <a:pt x="0" y="2760"/>
                </a:lnTo>
                <a:lnTo>
                  <a:pt x="2344" y="2760"/>
                </a:lnTo>
                <a:lnTo>
                  <a:pt x="2344" y="0"/>
                </a:lnTo>
                <a:lnTo>
                  <a:pt x="0" y="414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noProof="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79715" y="5908236"/>
            <a:ext cx="1078992" cy="1257260"/>
          </a:xfrm>
          <a:prstGeom prst="rect">
            <a:avLst/>
          </a:prstGeom>
        </p:spPr>
      </p:pic>
      <p:sp>
        <p:nvSpPr>
          <p:cNvPr id="6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618453" y="2049028"/>
            <a:ext cx="3384614" cy="920418"/>
          </a:xfrm>
        </p:spPr>
        <p:txBody>
          <a:bodyPr wrap="square">
            <a:noAutofit/>
          </a:bodyPr>
          <a:lstStyle>
            <a:lvl1pPr>
              <a:defRPr sz="18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IE" noProof="0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8452" y="1227008"/>
            <a:ext cx="3379851" cy="658353"/>
          </a:xfrm>
        </p:spPr>
        <p:txBody>
          <a:bodyPr anchor="t">
            <a:noAutofit/>
          </a:bodyPr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IE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667692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4025" y="2052764"/>
            <a:ext cx="3168000" cy="4896000"/>
          </a:xfrm>
        </p:spPr>
        <p:txBody>
          <a:bodyPr/>
          <a:lstStyle>
            <a:lvl1pPr>
              <a:defRPr sz="8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000"/>
            </a:lvl3pPr>
            <a:lvl4pPr>
              <a:defRPr sz="800"/>
            </a:lvl4pPr>
            <a:lvl5pPr>
              <a:defRPr sz="800"/>
            </a:lvl5pPr>
          </a:lstStyle>
          <a:p>
            <a:pPr lvl="1"/>
            <a:r>
              <a:rPr lang="en-IE" noProof="0" dirty="0"/>
              <a:t>Second level</a:t>
            </a:r>
          </a:p>
          <a:p>
            <a:pPr lvl="2"/>
            <a:r>
              <a:rPr lang="en-IE" noProof="0" dirty="0"/>
              <a:t>Third level</a:t>
            </a:r>
          </a:p>
          <a:p>
            <a:pPr lvl="3"/>
            <a:r>
              <a:rPr lang="en-IE" noProof="0" dirty="0"/>
              <a:t>Fourth level</a:t>
            </a:r>
          </a:p>
          <a:p>
            <a:pPr lvl="4"/>
            <a:r>
              <a:rPr lang="en-IE" noProof="0" dirty="0"/>
              <a:t>Fifth level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0" y="2052869"/>
            <a:ext cx="3168000" cy="4896000"/>
          </a:xfrm>
        </p:spPr>
        <p:txBody>
          <a:bodyPr/>
          <a:lstStyle>
            <a:lvl1pPr>
              <a:defRPr sz="8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000"/>
            </a:lvl3pPr>
            <a:lvl4pPr>
              <a:defRPr sz="800"/>
            </a:lvl4pPr>
            <a:lvl5pPr>
              <a:defRPr sz="800"/>
            </a:lvl5pPr>
          </a:lstStyle>
          <a:p>
            <a:pPr lvl="1"/>
            <a:r>
              <a:rPr lang="en-IE" noProof="0" dirty="0"/>
              <a:t>Second level</a:t>
            </a:r>
          </a:p>
          <a:p>
            <a:pPr lvl="2"/>
            <a:r>
              <a:rPr lang="en-IE" noProof="0" dirty="0"/>
              <a:t>Third level</a:t>
            </a:r>
          </a:p>
          <a:p>
            <a:pPr lvl="3"/>
            <a:r>
              <a:rPr lang="en-IE" noProof="0" dirty="0"/>
              <a:t>Fourth level</a:t>
            </a:r>
          </a:p>
          <a:p>
            <a:pPr lvl="4"/>
            <a:r>
              <a:rPr lang="en-IE" noProof="0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0"/>
          </p:nvPr>
        </p:nvSpPr>
        <p:spPr bwMode="gray">
          <a:xfrm>
            <a:off x="7064136" y="2052869"/>
            <a:ext cx="3168000" cy="4896000"/>
          </a:xfrm>
        </p:spPr>
        <p:txBody>
          <a:bodyPr/>
          <a:lstStyle>
            <a:lvl1pPr>
              <a:defRPr sz="8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0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54025" y="750280"/>
            <a:ext cx="9778111" cy="1152242"/>
          </a:xfrm>
          <a:prstGeom prst="rect">
            <a:avLst/>
          </a:prstGeom>
          <a:solidFill>
            <a:srgbClr val="FFE600"/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68" tIns="71968" rIns="71968" bIns="71968" rtlCol="0" anchor="ctr"/>
          <a:lstStyle/>
          <a:p>
            <a:pPr algn="ctr"/>
            <a:endParaRPr lang="en-IE" sz="1000" b="1" noProof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573369" y="750280"/>
            <a:ext cx="791647" cy="115224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52" tIns="71968" rIns="71968" bIns="71968" rtlCol="0" anchor="ctr"/>
          <a:lstStyle/>
          <a:p>
            <a:pPr algn="l"/>
            <a:r>
              <a:rPr lang="en-IE" sz="1000" b="1" noProof="0" dirty="0">
                <a:solidFill>
                  <a:schemeClr val="bg2"/>
                </a:solidFill>
                <a:latin typeface="EYInterstate Light" panose="02000506000000020004" pitchFamily="2" charset="0"/>
              </a:rPr>
              <a:t>Place photo</a:t>
            </a:r>
            <a:br>
              <a:rPr lang="en-IE" sz="1000" b="1" noProof="0" dirty="0">
                <a:solidFill>
                  <a:schemeClr val="bg2"/>
                </a:solidFill>
                <a:latin typeface="EYInterstate Light" panose="02000506000000020004" pitchFamily="2" charset="0"/>
              </a:rPr>
            </a:br>
            <a:r>
              <a:rPr lang="en-IE" sz="1000" b="1" noProof="0" dirty="0">
                <a:solidFill>
                  <a:schemeClr val="bg2"/>
                </a:solidFill>
                <a:latin typeface="EYInterstate Light" panose="02000506000000020004" pitchFamily="2" charset="0"/>
              </a:rPr>
              <a:t>here</a:t>
            </a:r>
          </a:p>
        </p:txBody>
      </p:sp>
      <p:cxnSp>
        <p:nvCxnSpPr>
          <p:cNvPr id="3" name="Straight Arrow Connector 2"/>
          <p:cNvCxnSpPr/>
          <p:nvPr userDrawn="1"/>
        </p:nvCxnSpPr>
        <p:spPr>
          <a:xfrm>
            <a:off x="609423" y="828477"/>
            <a:ext cx="71967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/>
          <p:nvPr userDrawn="1"/>
        </p:nvCxnSpPr>
        <p:spPr>
          <a:xfrm>
            <a:off x="1293126" y="972619"/>
            <a:ext cx="0" cy="86418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 rot="5400000">
            <a:off x="1059011" y="1296746"/>
            <a:ext cx="396083" cy="2159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4" tIns="0" rIns="35984" bIns="0" rtlCol="0" anchor="ctr"/>
          <a:lstStyle/>
          <a:p>
            <a:pPr algn="l"/>
            <a:r>
              <a:rPr lang="en-IE" sz="800" b="0" noProof="0" dirty="0">
                <a:solidFill>
                  <a:schemeClr val="bg2"/>
                </a:solidFill>
                <a:latin typeface="EYInterstate Light" panose="02000506000000020004" pitchFamily="2" charset="0"/>
              </a:rPr>
              <a:t>3.2cm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753358" y="750281"/>
            <a:ext cx="431808" cy="21606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4" tIns="0" rIns="35984" bIns="0" rtlCol="0" anchor="ctr"/>
          <a:lstStyle/>
          <a:p>
            <a:pPr algn="l"/>
            <a:r>
              <a:rPr lang="en-IE" sz="800" b="0" noProof="0" dirty="0">
                <a:solidFill>
                  <a:schemeClr val="bg2"/>
                </a:solidFill>
                <a:latin typeface="EYInterstate Light" panose="02000506000000020004" pitchFamily="2" charset="0"/>
              </a:rPr>
              <a:t>2.23cm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527100" y="863274"/>
            <a:ext cx="3092659" cy="942334"/>
          </a:xfrm>
        </p:spPr>
        <p:txBody>
          <a:bodyPr/>
          <a:lstStyle>
            <a:lvl1pPr>
              <a:defRPr sz="800"/>
            </a:lvl1pPr>
            <a:lvl2pPr>
              <a:spcBef>
                <a:spcPts val="0"/>
              </a:spcBef>
              <a:spcAft>
                <a:spcPts val="300"/>
              </a:spcAft>
              <a:defRPr sz="1000"/>
            </a:lvl2pPr>
            <a:lvl3pPr>
              <a:spcBef>
                <a:spcPts val="0"/>
              </a:spcBef>
              <a:defRPr sz="1000"/>
            </a:lvl3pPr>
            <a:lvl4pPr marL="0" indent="0">
              <a:buNone/>
              <a:tabLst>
                <a:tab pos="447496" algn="l"/>
              </a:tabLst>
              <a:defRPr sz="800" baseline="0"/>
            </a:lvl4pPr>
            <a:lvl5pPr marL="0" indent="0">
              <a:buNone/>
              <a:tabLst>
                <a:tab pos="447675" algn="l"/>
              </a:tabLst>
              <a:defRPr lang="en-US" sz="800" kern="1200" baseline="0" dirty="0" smtClean="0">
                <a:solidFill>
                  <a:schemeClr val="tx1"/>
                </a:solidFill>
                <a:latin typeface="EYInterstate Light" pitchFamily="2" charset="0"/>
                <a:ea typeface="+mn-ea"/>
                <a:cs typeface="+mn-cs"/>
              </a:defRPr>
            </a:lvl5pPr>
          </a:lstStyle>
          <a:p>
            <a:pPr lvl="1"/>
            <a:r>
              <a:rPr lang="en-IE" noProof="0" dirty="0"/>
              <a:t>Name</a:t>
            </a:r>
          </a:p>
          <a:p>
            <a:pPr lvl="4"/>
            <a:r>
              <a:rPr lang="en-IE" noProof="0" dirty="0"/>
              <a:t>Position</a:t>
            </a:r>
          </a:p>
          <a:p>
            <a:pPr marL="0" lvl="4" indent="0" algn="l" defTabSz="1042639" rtl="0" eaLnBrk="1" latinLnBrk="0" hangingPunct="1">
              <a:spcBef>
                <a:spcPts val="0"/>
              </a:spcBef>
              <a:spcAft>
                <a:spcPts val="500"/>
              </a:spcAft>
              <a:buSzPct val="70000"/>
              <a:buFont typeface="Arial" pitchFamily="34" charset="0"/>
              <a:buNone/>
            </a:pPr>
            <a:r>
              <a:rPr lang="en-IE" noProof="0" dirty="0"/>
              <a:t>Direct:	+</a:t>
            </a:r>
            <a:br>
              <a:rPr lang="en-IE" noProof="0" dirty="0"/>
            </a:br>
            <a:r>
              <a:rPr lang="en-IE" noProof="0" dirty="0"/>
              <a:t>Mobile:	+</a:t>
            </a:r>
            <a:br>
              <a:rPr lang="en-IE" noProof="0" dirty="0"/>
            </a:br>
            <a:r>
              <a:rPr lang="en-IE" noProof="0" dirty="0"/>
              <a:t>Email:	@ie.ey.com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2550904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3">
          <p15:clr>
            <a:srgbClr val="FBAE40"/>
          </p15:clr>
        </p15:guide>
        <p15:guide id="2" pos="2278" userDrawn="1">
          <p15:clr>
            <a:srgbClr val="FBAE40"/>
          </p15:clr>
        </p15:guide>
        <p15:guide id="3" pos="2346" userDrawn="1">
          <p15:clr>
            <a:srgbClr val="FBAE40"/>
          </p15:clr>
        </p15:guide>
        <p15:guide id="4" pos="4364" userDrawn="1">
          <p15:clr>
            <a:srgbClr val="FBAE40"/>
          </p15:clr>
        </p15:guide>
        <p15:guide id="5" pos="4455" userDrawn="1">
          <p15:clr>
            <a:srgbClr val="FBAE40"/>
          </p15:clr>
        </p15:guide>
        <p15:guide id="6" pos="6451" userDrawn="1">
          <p15:clr>
            <a:srgbClr val="FBAE40"/>
          </p15:clr>
        </p15:guide>
        <p15:guide id="7" orient="horz" pos="1190">
          <p15:clr>
            <a:srgbClr val="FBAE40"/>
          </p15:clr>
        </p15:guide>
        <p15:guide id="8" orient="horz" pos="47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62CE4C1F-DD64-40A3-B9E9-1AF8481A80FF}"/>
              </a:ext>
            </a:extLst>
          </p:cNvPr>
          <p:cNvSpPr txBox="1"/>
          <p:nvPr userDrawn="1"/>
        </p:nvSpPr>
        <p:spPr>
          <a:xfrm>
            <a:off x="457199" y="752475"/>
            <a:ext cx="3200400" cy="2304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US" sz="1200" b="1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Y  </a:t>
            </a:r>
            <a:r>
              <a:rPr lang="en-US" sz="12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|  Building a better working world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Y exists to build a better working world, helping to create long-term value for clients, people and society and build trust in the capital markets. 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abled by data and technology, diverse EY teams in over 150 countries provide trust through assurance and help clients grow, transform and operate. 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US" sz="11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Working across assurance, consulting, law, strategy, tax and transactions, EY teams ask better questions to find new answers for the complex issues facing our world today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5FAA95A4-6D56-4218-B13E-A5A3BD8426ED}"/>
              </a:ext>
            </a:extLst>
          </p:cNvPr>
          <p:cNvSpPr txBox="1"/>
          <p:nvPr userDrawn="1"/>
        </p:nvSpPr>
        <p:spPr>
          <a:xfrm>
            <a:off x="7009216" y="752475"/>
            <a:ext cx="3228975" cy="336994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Y refers to the global organisation, and may refer to one or more, of the member firms of Ernst &amp; Young Global Limited, each of which is a separate legal entity. Ernst &amp; Young Global Limited, a UK company limited by guarantee, does not provide services to clients. Information about how EY collects and uses personal data and a description of the rights individuals have under data protection legislation are available via ey.com/privacy. EY member firms do not practice law where prohibited by local laws. For more information about our organisation, please visit ey.com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© 2023 Ernst &amp; Young. All Rights Reserved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Irish firm Ernst &amp; Young is a member practice of Ernst &amp; Young Global Limited. It is authorised by the Institute of Chartered Accountants in Ireland to carry on investment business in the Republic of Ireland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rnst &amp; Young, Harcourt Centre, Harcourt Street, Dublin 2, Ireland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800" dirty="0">
                <a:solidFill>
                  <a:srgbClr val="000000"/>
                </a:solidFill>
                <a:effectLst/>
                <a:latin typeface="EYInterstate Light" panose="0200050600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formation in this publication is intended to provide only a general outline of the subjects covered. It should neither be regarded as comprehensive nor sufficient for making decisions, nor should it be used in place of professional advice. Ernst &amp; Young accepts no responsibility for any loss arising from any action taken or not taken by anyone using this material.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500"/>
              </a:spcAft>
            </a:pPr>
            <a:r>
              <a:rPr lang="en-IN" sz="1100" dirty="0">
                <a:solidFill>
                  <a:srgbClr val="000000"/>
                </a:solidFill>
                <a:effectLst/>
                <a:latin typeface="EYInterstate" panose="0200050302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y.com</a:t>
            </a:r>
            <a:endParaRPr lang="en-IE" sz="1200" dirty="0">
              <a:effectLst/>
              <a:latin typeface="EYInterstate Light" panose="0200050600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9353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24437"/>
            <a:ext cx="9619774" cy="651080"/>
          </a:xfrm>
        </p:spPr>
        <p:txBody>
          <a:bodyPr/>
          <a:lstStyle>
            <a:lvl1pPr>
              <a:defRPr sz="210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34433" y="1041382"/>
            <a:ext cx="9621075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77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433" y="1254873"/>
            <a:ext cx="9619774" cy="54564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rIns="0"/>
          <a:lstStyle/>
          <a:p>
            <a:fld id="{16D63E5D-D4D4-47A0-B3D2-9C348E301267}" type="datetime3">
              <a:rPr lang="en-US" smtClean="0"/>
              <a:t>4 May 2023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rIns="0"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rIns="0"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97523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6"/>
          <p:cNvSpPr>
            <a:spLocks/>
          </p:cNvSpPr>
          <p:nvPr userDrawn="1"/>
        </p:nvSpPr>
        <p:spPr bwMode="auto">
          <a:xfrm>
            <a:off x="438150" y="438148"/>
            <a:ext cx="4965700" cy="3355975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79715" y="5908236"/>
            <a:ext cx="1078992" cy="1257260"/>
          </a:xfrm>
          <a:prstGeom prst="rect">
            <a:avLst/>
          </a:prstGeom>
        </p:spPr>
      </p:pic>
      <p:sp>
        <p:nvSpPr>
          <p:cNvPr id="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618452" y="2284701"/>
            <a:ext cx="4583722" cy="920418"/>
          </a:xfrm>
        </p:spPr>
        <p:txBody>
          <a:bodyPr wrap="square">
            <a:noAutofit/>
          </a:bodyPr>
          <a:lstStyle>
            <a:lvl1pPr>
              <a:defRPr sz="18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IE" noProof="0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8452" y="1462681"/>
            <a:ext cx="4583722" cy="658353"/>
          </a:xfrm>
        </p:spPr>
        <p:txBody>
          <a:bodyPr anchor="t">
            <a:noAutofit/>
          </a:bodyPr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IE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839865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 bwMode="gray">
          <a:xfrm>
            <a:off x="454024" y="1475095"/>
            <a:ext cx="9778111" cy="5472000"/>
          </a:xfrm>
        </p:spPr>
        <p:txBody>
          <a:bodyPr/>
          <a:lstStyle>
            <a:lvl4pPr marL="180975" indent="-180975">
              <a:defRPr/>
            </a:lvl4pPr>
            <a:lvl5pPr marL="361950" indent="-180975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5" y="709761"/>
            <a:ext cx="9778110" cy="61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558256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845">
          <p15:clr>
            <a:srgbClr val="FBAE40"/>
          </p15:clr>
        </p15:guide>
        <p15:guide id="3" orient="horz" pos="93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6" y="1475098"/>
            <a:ext cx="4818062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5416549" y="1475098"/>
            <a:ext cx="4813655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389437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930">
          <p15:clr>
            <a:srgbClr val="FBAE40"/>
          </p15:clr>
        </p15:guide>
        <p15:guide id="3" pos="3321" userDrawn="1">
          <p15:clr>
            <a:srgbClr val="FBAE40"/>
          </p15:clr>
        </p15:guide>
        <p15:guide id="4" pos="3412" userDrawn="1">
          <p15:clr>
            <a:srgbClr val="FBAE40"/>
          </p15:clr>
        </p15:guide>
        <p15:guide id="5" orient="horz" pos="84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Row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6" y="709762"/>
            <a:ext cx="9778110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5" y="1475097"/>
            <a:ext cx="9778111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7"/>
          </p:nvPr>
        </p:nvSpPr>
        <p:spPr bwMode="gray">
          <a:xfrm>
            <a:off x="454025" y="4262122"/>
            <a:ext cx="9778110" cy="266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1409874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  <p15:guide id="2" orient="horz" pos="930">
          <p15:clr>
            <a:srgbClr val="FBAE40"/>
          </p15:clr>
        </p15:guide>
        <p15:guide id="3" orient="horz" pos="845">
          <p15:clr>
            <a:srgbClr val="FBAE40"/>
          </p15:clr>
        </p15:guide>
        <p15:guide id="4" orient="horz" pos="2609" userDrawn="1">
          <p15:clr>
            <a:srgbClr val="FBAE40"/>
          </p15:clr>
        </p15:guide>
        <p15:guide id="5" orient="horz" pos="267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 Content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4" y="709762"/>
            <a:ext cx="9778111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4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3752135" y="1475098"/>
            <a:ext cx="6480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4145194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0">
          <p15:clr>
            <a:srgbClr val="FBAE40"/>
          </p15:clr>
        </p15:guide>
        <p15:guide id="2" orient="horz" pos="845">
          <p15:clr>
            <a:srgbClr val="FBAE40"/>
          </p15:clr>
        </p15:guide>
        <p15:guide id="3" pos="2278" userDrawn="1">
          <p15:clr>
            <a:srgbClr val="FBAE40"/>
          </p15:clr>
        </p15:guide>
        <p15:guide id="4" pos="234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 Content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4" y="709762"/>
            <a:ext cx="9778111" cy="612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7064135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454025" y="1475098"/>
            <a:ext cx="6480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1909403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0">
          <p15:clr>
            <a:srgbClr val="FBAE40"/>
          </p15:clr>
        </p15:guide>
        <p15:guide id="2" orient="horz" pos="845">
          <p15:clr>
            <a:srgbClr val="FBAE40"/>
          </p15:clr>
        </p15:guide>
        <p15:guide id="3" pos="4455" userDrawn="1">
          <p15:clr>
            <a:srgbClr val="FBAE40"/>
          </p15:clr>
        </p15:guide>
        <p15:guide id="4" pos="436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4024" y="709762"/>
            <a:ext cx="9778111" cy="612000"/>
          </a:xfrm>
        </p:spPr>
        <p:txBody>
          <a:bodyPr>
            <a:noAutofit/>
          </a:bodyPr>
          <a:lstStyle/>
          <a:p>
            <a:r>
              <a:rPr lang="en-US" noProof="0"/>
              <a:t>Click to edit Master title style</a:t>
            </a:r>
            <a:endParaRPr lang="en-IE" noProof="0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5"/>
          </p:nvPr>
        </p:nvSpPr>
        <p:spPr bwMode="gray">
          <a:xfrm>
            <a:off x="454024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6"/>
          </p:nvPr>
        </p:nvSpPr>
        <p:spPr bwMode="gray">
          <a:xfrm>
            <a:off x="7064135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7"/>
          </p:nvPr>
        </p:nvSpPr>
        <p:spPr bwMode="gray">
          <a:xfrm>
            <a:off x="3759079" y="1475098"/>
            <a:ext cx="3168000" cy="547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IE" noProof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>
              <a:defRPr lang="en-IE" smtClean="0"/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  <p:extLst>
      <p:ext uri="{BB962C8B-B14F-4D97-AF65-F5344CB8AC3E}">
        <p14:creationId xmlns:p14="http://schemas.microsoft.com/office/powerpoint/2010/main" val="878486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78" userDrawn="1">
          <p15:clr>
            <a:srgbClr val="FBAE40"/>
          </p15:clr>
        </p15:guide>
        <p15:guide id="2" pos="2346" userDrawn="1">
          <p15:clr>
            <a:srgbClr val="FBAE40"/>
          </p15:clr>
        </p15:guide>
        <p15:guide id="3" pos="4455" userDrawn="1">
          <p15:clr>
            <a:srgbClr val="FBAE40"/>
          </p15:clr>
        </p15:guide>
        <p15:guide id="4" pos="4364" userDrawn="1">
          <p15:clr>
            <a:srgbClr val="FBAE40"/>
          </p15:clr>
        </p15:guide>
        <p15:guide id="5" orient="horz" pos="930">
          <p15:clr>
            <a:srgbClr val="FBAE40"/>
          </p15:clr>
        </p15:guide>
        <p15:guide id="6" orient="horz" pos="84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244980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454025" y="696971"/>
            <a:ext cx="9778111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IE" noProof="0" dirty="0"/>
              <a:t>Headline 1</a:t>
            </a:r>
          </a:p>
        </p:txBody>
      </p:sp>
      <p:sp>
        <p:nvSpPr>
          <p:cNvPr id="1036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4025" y="1475095"/>
            <a:ext cx="9779000" cy="54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IE" noProof="0" dirty="0"/>
              <a:t>First level</a:t>
            </a:r>
          </a:p>
          <a:p>
            <a:pPr lvl="1"/>
            <a:r>
              <a:rPr lang="en-IE" noProof="0" dirty="0"/>
              <a:t>Second level</a:t>
            </a:r>
          </a:p>
          <a:p>
            <a:pPr lvl="2"/>
            <a:r>
              <a:rPr lang="en-IE" noProof="0" dirty="0"/>
              <a:t>Third level</a:t>
            </a:r>
          </a:p>
          <a:p>
            <a:pPr lvl="3"/>
            <a:r>
              <a:rPr lang="en-IE" noProof="0" dirty="0"/>
              <a:t>Bullet level 1</a:t>
            </a:r>
          </a:p>
          <a:p>
            <a:pPr lvl="4"/>
            <a:r>
              <a:rPr lang="en-IE" noProof="0" dirty="0"/>
              <a:t>Numbered bullet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744319" y="7196328"/>
            <a:ext cx="7200000" cy="10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 algn="ctr">
              <a:defRPr lang="en-GB" sz="700" b="0" dirty="0">
                <a:solidFill>
                  <a:srgbClr val="747480"/>
                </a:solidFill>
                <a:latin typeface="+mj-lt"/>
              </a:defRPr>
            </a:lvl1pPr>
          </a:lstStyle>
          <a:p>
            <a:pPr defTabSz="995363"/>
            <a:r>
              <a:rPr lang="en-IE" noProof="0" dirty="0"/>
              <a:t>[Document title]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87290" y="7191418"/>
            <a:ext cx="34573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IE" sz="700" kern="1200" smtClean="0">
                <a:solidFill>
                  <a:srgbClr val="747480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9A56513-F998-4254-9CEB-F507EE6F3742}" type="slidenum">
              <a:rPr lang="en-IE" noProof="0" smtClean="0"/>
              <a:pPr/>
              <a:t>‹#›</a:t>
            </a:fld>
            <a:endParaRPr lang="en-IE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65" r:id="rId17"/>
    <p:sldLayoutId id="2147483688" r:id="rId18"/>
    <p:sldLayoutId id="2147483689" r:id="rId19"/>
    <p:sldLayoutId id="2147483690" r:id="rId20"/>
    <p:sldLayoutId id="2147483671" r:id="rId21"/>
    <p:sldLayoutId id="2147483691" r:id="rId22"/>
  </p:sldLayoutIdLst>
  <p:hf hdr="0" dt="0"/>
  <p:txStyles>
    <p:titleStyle>
      <a:lvl1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rgbClr val="2E2E38"/>
          </a:solidFill>
          <a:latin typeface="+mj-lt"/>
          <a:ea typeface="+mj-ea"/>
          <a:cs typeface="+mj-cs"/>
        </a:defRPr>
      </a:lvl1pPr>
      <a:lvl2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2pPr>
      <a:lvl3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3pPr>
      <a:lvl4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4pPr>
      <a:lvl5pPr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5pPr>
      <a:lvl6pPr marL="457200"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6pPr>
      <a:lvl7pPr marL="914400"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7pPr>
      <a:lvl8pPr marL="1371600"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8pPr>
      <a:lvl9pPr marL="1828800" algn="l" defTabSz="1019175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EYInterstate" pitchFamily="2" charset="0"/>
        </a:defRPr>
      </a:lvl9pPr>
    </p:titleStyle>
    <p:bodyStyle>
      <a:lvl1pPr algn="l" defTabSz="1019175" rtl="0" eaLnBrk="1" fontAlgn="base" hangingPunct="1">
        <a:lnSpc>
          <a:spcPct val="100000"/>
        </a:lnSpc>
        <a:spcBef>
          <a:spcPts val="0"/>
        </a:spcBef>
        <a:spcAft>
          <a:spcPts val="500"/>
        </a:spcAft>
        <a:defRPr sz="900" baseline="0">
          <a:solidFill>
            <a:schemeClr val="tx1"/>
          </a:solidFill>
          <a:latin typeface="+mn-lt"/>
          <a:ea typeface="+mn-ea"/>
          <a:cs typeface="+mn-cs"/>
        </a:defRPr>
      </a:lvl1pPr>
      <a:lvl2pPr marL="1588" marR="0" indent="0" algn="l" defTabSz="995363" rtl="0" eaLnBrk="1" fontAlgn="base" latinLnBrk="0" hangingPunct="1">
        <a:lnSpc>
          <a:spcPct val="100000"/>
        </a:lnSpc>
        <a:spcBef>
          <a:spcPts val="200"/>
        </a:spcBef>
        <a:spcAft>
          <a:spcPts val="500"/>
        </a:spcAft>
        <a:buClrTx/>
        <a:buSzPct val="30000"/>
        <a:buFont typeface="Arial" charset="0"/>
        <a:buNone/>
        <a:tabLst/>
        <a:defRPr sz="1400" b="0">
          <a:solidFill>
            <a:schemeClr val="tx1"/>
          </a:solidFill>
          <a:latin typeface="+mj-lt"/>
        </a:defRPr>
      </a:lvl2pPr>
      <a:lvl3pPr marL="0" indent="0" algn="l" defTabSz="1019175" rtl="0" eaLnBrk="1" fontAlgn="base" hangingPunct="1">
        <a:lnSpc>
          <a:spcPct val="100000"/>
        </a:lnSpc>
        <a:spcBef>
          <a:spcPts val="200"/>
        </a:spcBef>
        <a:spcAft>
          <a:spcPts val="500"/>
        </a:spcAft>
        <a:buClr>
          <a:schemeClr val="tx1"/>
        </a:buClr>
        <a:buSzPct val="70000"/>
        <a:buFontTx/>
        <a:buNone/>
        <a:defRPr sz="1200" b="0">
          <a:solidFill>
            <a:srgbClr val="747480"/>
          </a:solidFill>
          <a:latin typeface="+mj-lt"/>
        </a:defRPr>
      </a:lvl3pPr>
      <a:lvl4pPr marL="180975" indent="-180975" algn="l" defTabSz="1019175" rtl="0" eaLnBrk="1" fontAlgn="base" hangingPunct="1">
        <a:lnSpc>
          <a:spcPct val="100000"/>
        </a:lnSpc>
        <a:spcBef>
          <a:spcPts val="0"/>
        </a:spcBef>
        <a:spcAft>
          <a:spcPts val="500"/>
        </a:spcAft>
        <a:buClr>
          <a:schemeClr val="tx1"/>
        </a:buClr>
        <a:buSzPct val="70000"/>
        <a:buFont typeface="Arial" panose="020B0604020202020204" pitchFamily="34" charset="0"/>
        <a:buChar char="►"/>
        <a:defRPr sz="900">
          <a:solidFill>
            <a:schemeClr val="tx1"/>
          </a:solidFill>
          <a:latin typeface="+mn-lt"/>
        </a:defRPr>
      </a:lvl4pPr>
      <a:lvl5pPr marL="361950" marR="0" indent="-180975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500"/>
        </a:spcAft>
        <a:buClr>
          <a:schemeClr val="tx1"/>
        </a:buClr>
        <a:buSzPct val="70000"/>
        <a:buFont typeface="Arial" panose="020B0604020202020204" pitchFamily="34" charset="0"/>
        <a:buChar char="►"/>
        <a:tabLst/>
        <a:defRPr sz="900">
          <a:solidFill>
            <a:schemeClr val="tx1"/>
          </a:solidFill>
          <a:latin typeface="+mn-lt"/>
        </a:defRPr>
      </a:lvl5pPr>
      <a:lvl6pPr marL="2749550" indent="-254000" algn="l" defTabSz="1019175" rtl="0" eaLnBrk="1" fontAlgn="base" hangingPunct="1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6pPr>
      <a:lvl7pPr marL="3206750" indent="-254000" algn="l" defTabSz="1019175" rtl="0" eaLnBrk="1" fontAlgn="base" hangingPunct="1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7pPr>
      <a:lvl8pPr marL="3663950" indent="-254000" algn="l" defTabSz="1019175" rtl="0" eaLnBrk="1" fontAlgn="base" hangingPunct="1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8pPr>
      <a:lvl9pPr marL="4121150" indent="-254000" algn="l" defTabSz="1019175" rtl="0" eaLnBrk="1" fontAlgn="base" hangingPunct="1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1" userDrawn="1">
          <p15:clr>
            <a:srgbClr val="F26B43"/>
          </p15:clr>
        </p15:guide>
        <p15:guide id="2" pos="6448" userDrawn="1">
          <p15:clr>
            <a:srgbClr val="F26B43"/>
          </p15:clr>
        </p15:guide>
        <p15:guide id="3" pos="280" userDrawn="1">
          <p15:clr>
            <a:srgbClr val="F26B43"/>
          </p15:clr>
        </p15:guide>
        <p15:guide id="4" orient="horz" pos="44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8F8019E-BE20-497F-910F-C010210A073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E" dirty="0"/>
              <a:t>MCSG Sample CV Pack</a:t>
            </a:r>
          </a:p>
        </p:txBody>
      </p:sp>
    </p:spTree>
    <p:extLst>
      <p:ext uri="{BB962C8B-B14F-4D97-AF65-F5344CB8AC3E}">
        <p14:creationId xmlns:p14="http://schemas.microsoft.com/office/powerpoint/2010/main" val="31308538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4FE380-BCA5-4B22-0A73-72BD0C6B1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80165" tIns="40082" rIns="80165" bIns="40082" rtlCol="0" anchor="ctr" anchorCtr="0">
            <a:normAutofit/>
          </a:bodyPr>
          <a:lstStyle/>
          <a:p>
            <a:r>
              <a:rPr lang="en-IE" sz="3200" dirty="0">
                <a:solidFill>
                  <a:schemeClr val="tx1"/>
                </a:solidFill>
              </a:rPr>
              <a:t>Guidelines</a:t>
            </a:r>
            <a:endParaRPr lang="en-US" sz="2805" dirty="0">
              <a:solidFill>
                <a:schemeClr val="tx1"/>
              </a:solidFill>
              <a:latin typeface="+mj-lt"/>
              <a:cs typeface="+mj-cs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D1187D-3BA6-43E8-91C3-EB49326B98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sz="1000" dirty="0"/>
              <a:t>Filename: EY_YOUR_NAME_ROLE_TYPE.pptx or EY_YOUR_NAME_ROLE_TYPE.pptx e.g.</a:t>
            </a:r>
          </a:p>
          <a:p>
            <a:pPr marL="483939" lvl="1" indent="-171450">
              <a:buSzPct val="75000"/>
              <a:buFont typeface="Arial" panose="020B0604020202020204" pitchFamily="34" charset="0"/>
              <a:buChar char="►"/>
            </a:pPr>
            <a:r>
              <a:rPr lang="en-IE" sz="1000" dirty="0">
                <a:latin typeface="+mn-lt"/>
                <a:ea typeface="+mn-ea"/>
                <a:cs typeface="+mn-cs"/>
              </a:rPr>
              <a:t>EY_Colm_Cosgrove.pptx </a:t>
            </a:r>
          </a:p>
          <a:p>
            <a:pPr marL="483939" lvl="1" indent="-171450">
              <a:buSzPct val="75000"/>
              <a:buFont typeface="Arial" panose="020B0604020202020204" pitchFamily="34" charset="0"/>
              <a:buChar char="►"/>
            </a:pPr>
            <a:r>
              <a:rPr lang="en-IE" sz="1000" dirty="0">
                <a:latin typeface="+mn-lt"/>
                <a:ea typeface="+mn-ea"/>
                <a:cs typeface="+mn-cs"/>
              </a:rPr>
              <a:t>EY_Colm_Cosgrove_Cloud_Architect.pptx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sz="1000" dirty="0"/>
              <a:t>Layout: 1_CV Layout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sz="1000" dirty="0"/>
              <a:t>Be as complete as possible with all information. The intention is to have a one-page CV that has all relevant information so that pursuit teams can either use the CV as a “one-pager” for a proposal or can take in information for shorter versions of a CV, therefore, you are encouraged to have as much information inputted as possible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sz="1000" dirty="0"/>
              <a:t>Do not overrun the box</a:t>
            </a:r>
          </a:p>
          <a:p>
            <a:pPr marL="352425" lvl="3" indent="-171450">
              <a:buSzPct val="75000"/>
            </a:pPr>
            <a:r>
              <a:rPr lang="en-IE" sz="1000" dirty="0">
                <a:ea typeface="+mn-ea"/>
                <a:cs typeface="+mn-cs"/>
              </a:rPr>
              <a:t>Remove text box outline once complete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sz="1000" dirty="0"/>
              <a:t>Do not use periods at the end of bullet points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sz="1000" dirty="0"/>
              <a:t>Use full sentences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sz="1000" dirty="0"/>
              <a:t>Write in the third person</a:t>
            </a:r>
          </a:p>
          <a:p>
            <a:pPr marL="363538" lvl="3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ea typeface="+mn-ea"/>
                <a:cs typeface="+mn-cs"/>
              </a:rPr>
              <a:t>Limit the amount of times you start a sentence with your name</a:t>
            </a:r>
          </a:p>
          <a:p>
            <a:pPr marL="51049" lvl="2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derline and italicise your experience headings</a:t>
            </a:r>
          </a:p>
          <a:p>
            <a:pPr marL="363538" lvl="3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ea typeface="+mn-ea"/>
                <a:cs typeface="+mn-cs"/>
              </a:rPr>
              <a:t>Do not use company names. Use sectors instead e.g. Government Health service rather than HSE</a:t>
            </a:r>
          </a:p>
          <a:p>
            <a:pPr marL="51049" lvl="2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adings</a:t>
            </a:r>
          </a:p>
          <a:p>
            <a:pPr marL="363538" lvl="3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ea typeface="+mn-ea"/>
                <a:cs typeface="+mn-cs"/>
              </a:rPr>
              <a:t>Font size 10</a:t>
            </a:r>
          </a:p>
          <a:p>
            <a:pPr marL="363538" lvl="3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ea typeface="+mn-ea"/>
                <a:cs typeface="+mn-cs"/>
              </a:rPr>
              <a:t>Bold</a:t>
            </a:r>
          </a:p>
          <a:p>
            <a:pPr marL="363538" lvl="3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ea typeface="+mn-ea"/>
                <a:cs typeface="+mn-cs"/>
              </a:rPr>
              <a:t>Font EYInterstate Light</a:t>
            </a:r>
          </a:p>
          <a:p>
            <a:pPr marL="182563" lvl="2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ody</a:t>
            </a:r>
          </a:p>
          <a:p>
            <a:pPr marL="363538" lvl="3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ea typeface="+mn-ea"/>
                <a:cs typeface="+mn-cs"/>
              </a:rPr>
              <a:t>Font Size 8</a:t>
            </a:r>
          </a:p>
          <a:p>
            <a:pPr marL="363538" lvl="3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ea typeface="+mn-ea"/>
                <a:cs typeface="+mn-cs"/>
              </a:rPr>
              <a:t>Font EYInterstate Light</a:t>
            </a:r>
          </a:p>
          <a:p>
            <a:pPr marL="182563" lvl="2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llet points</a:t>
            </a:r>
          </a:p>
          <a:p>
            <a:pPr marL="363538" lvl="3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ea typeface="+mn-ea"/>
                <a:cs typeface="+mn-cs"/>
              </a:rPr>
              <a:t>Hex 25BA</a:t>
            </a:r>
          </a:p>
          <a:p>
            <a:pPr marL="182563" lvl="2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oto</a:t>
            </a:r>
          </a:p>
          <a:p>
            <a:pPr marL="363538" lvl="3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ea typeface="+mn-ea"/>
                <a:cs typeface="+mn-cs"/>
              </a:rPr>
              <a:t>Clear photo of yourself</a:t>
            </a:r>
          </a:p>
          <a:p>
            <a:pPr marL="363538" lvl="3" indent="-182563">
              <a:buSzPct val="75000"/>
              <a:buFont typeface="Arial Unicode MS" pitchFamily="34" charset="-128"/>
              <a:buChar char="►"/>
            </a:pPr>
            <a:r>
              <a:rPr lang="en-IE" sz="1000" dirty="0">
                <a:ea typeface="+mn-ea"/>
                <a:cs typeface="+mn-cs"/>
              </a:rPr>
              <a:t>Rectangle format, Cropped correctly to fit placeholder maintaining aspect ratio</a:t>
            </a:r>
          </a:p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21730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33472A6-E835-4ACD-8580-5EAB51B526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4025" y="2052764"/>
            <a:ext cx="3168000" cy="4896000"/>
          </a:xfrm>
          <a:ln>
            <a:solidFill>
              <a:schemeClr val="accent5"/>
            </a:solidFill>
          </a:ln>
        </p:spPr>
        <p:txBody>
          <a:bodyPr/>
          <a:lstStyle/>
          <a:p>
            <a:pPr defTabSz="995363">
              <a:spcAft>
                <a:spcPct val="50000"/>
              </a:spcAft>
              <a:buClr>
                <a:schemeClr val="tx1"/>
              </a:buClr>
              <a:tabLst>
                <a:tab pos="3228975" algn="l"/>
                <a:tab pos="4665663" algn="r"/>
              </a:tabLst>
            </a:pPr>
            <a:r>
              <a:rPr lang="en-IE" altLang="en-US" sz="1000" b="1" dirty="0">
                <a:solidFill>
                  <a:srgbClr val="000000"/>
                </a:solidFill>
                <a:latin typeface="EYInterstate" pitchFamily="2" charset="0"/>
                <a:sym typeface="Arial Unicode MS" panose="020B0604020202020204" pitchFamily="34" charset="-128"/>
              </a:rPr>
              <a:t>Background</a:t>
            </a:r>
            <a:r>
              <a:rPr lang="en-IE" altLang="en-US" sz="800" b="1" dirty="0">
                <a:solidFill>
                  <a:srgbClr val="000000"/>
                </a:solidFill>
                <a:latin typeface="EYInterstate" pitchFamily="2" charset="0"/>
                <a:sym typeface="Arial Unicode MS" panose="020B0604020202020204" pitchFamily="34" charset="-128"/>
              </a:rPr>
              <a:t> </a:t>
            </a:r>
          </a:p>
          <a:p>
            <a:pPr defTabSz="995363">
              <a:spcAft>
                <a:spcPct val="50000"/>
              </a:spcAft>
              <a:buClr>
                <a:schemeClr val="tx1"/>
              </a:buClr>
              <a:buSzPct val="75000"/>
              <a:tabLst>
                <a:tab pos="3228975" algn="l"/>
                <a:tab pos="4665663" algn="r"/>
              </a:tabLst>
            </a:pP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Naveen is a senior consultant within Ernst &amp; Young in the Technology Consulting practice, focusing on Digital Assurance &amp; Testing.</a:t>
            </a:r>
          </a:p>
          <a:p>
            <a:pPr defTabSz="995363">
              <a:spcAft>
                <a:spcPct val="50000"/>
              </a:spcAft>
              <a:buClr>
                <a:schemeClr val="tx1"/>
              </a:buClr>
              <a:buSzPct val="75000"/>
              <a:tabLst>
                <a:tab pos="3228975" algn="l"/>
                <a:tab pos="4665663" algn="r"/>
              </a:tabLst>
            </a:pPr>
            <a:r>
              <a:rPr lang="en-IE" dirty="0">
                <a:solidFill>
                  <a:srgbClr val="000000"/>
                </a:solidFill>
                <a:latin typeface="EYInterstate Light" pitchFamily="2" charset="0"/>
                <a:cs typeface="Arial" charset="0"/>
              </a:rPr>
              <a:t>Naveen Joined Ernst &amp; Young in 2021 and is based in Dublin office</a:t>
            </a:r>
          </a:p>
          <a:p>
            <a:endParaRPr lang="en-IE" sz="1000" b="1" dirty="0">
              <a:solidFill>
                <a:srgbClr val="000000"/>
              </a:solidFill>
              <a:latin typeface="EYInterstate" pitchFamily="2" charset="0"/>
            </a:endParaRPr>
          </a:p>
          <a:p>
            <a:r>
              <a:rPr lang="en-IE" sz="1000" b="1" dirty="0">
                <a:solidFill>
                  <a:srgbClr val="000000"/>
                </a:solidFill>
                <a:latin typeface="EYInterstate" pitchFamily="2" charset="0"/>
              </a:rPr>
              <a:t>Skills</a:t>
            </a:r>
            <a:endParaRPr lang="en-IE" dirty="0">
              <a:latin typeface="EYInterstate Light" pitchFamily="2" charset="0"/>
              <a:cs typeface="Arial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GB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Jira including Zephyr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utomation Frameworks: BDD/TDD/Hybrid, Data-Driven Frameworks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utomation Tools: Selenium WebDriver, TestNG, Cucumber, Appium, Playwright, </a:t>
            </a:r>
            <a:r>
              <a:rPr lang="en-IE" sz="800" dirty="0" err="1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estAssured</a:t>
            </a: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WS (Step functions, Lambdas and S3 Bucket)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PI Testing: REST, SOAP, and Postman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ata Visualization Tools: Tableau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US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I/CD: GIT, Maven, Jenkins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US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DLC: Agile, Waterfall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ogramming Languages: Java, </a:t>
            </a: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ython, JavaScript</a:t>
            </a: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IE" sz="1100" b="1" dirty="0">
                <a:solidFill>
                  <a:srgbClr val="000000"/>
                </a:solidFill>
                <a:latin typeface="EYInterstate" pitchFamily="2" charset="0"/>
              </a:rPr>
              <a:t>Certifications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ISTQB Foundation Level</a:t>
            </a:r>
          </a:p>
          <a:p>
            <a:pPr defTabSz="995363">
              <a:spcAft>
                <a:spcPct val="50000"/>
              </a:spcAft>
              <a:buClr>
                <a:schemeClr val="tx1"/>
              </a:buClr>
              <a:buSzPct val="75000"/>
              <a:tabLst>
                <a:tab pos="3228975" algn="l"/>
                <a:tab pos="4665663" algn="r"/>
              </a:tabLst>
            </a:pPr>
            <a:endParaRPr lang="en-IE" sz="10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GB" sz="10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GB" sz="10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GB" sz="10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GB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995363">
              <a:spcAft>
                <a:spcPct val="50000"/>
              </a:spcAft>
              <a:buClr>
                <a:schemeClr val="tx1"/>
              </a:buClr>
              <a:buSzPct val="75000"/>
              <a:tabLst>
                <a:tab pos="3228975" algn="l"/>
                <a:tab pos="4665663" algn="r"/>
              </a:tabLst>
            </a:pPr>
            <a:endParaRPr lang="en-IE" sz="10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sz="1000" b="1" dirty="0">
              <a:solidFill>
                <a:srgbClr val="000000"/>
              </a:solidFill>
              <a:latin typeface="EYInterstate" pitchFamily="2" charset="0"/>
            </a:endParaRPr>
          </a:p>
          <a:p>
            <a:endParaRPr lang="en-IE" sz="1000" b="1" dirty="0">
              <a:solidFill>
                <a:srgbClr val="000000"/>
              </a:solidFill>
              <a:latin typeface="EYInterstate" pitchFamily="2" charset="0"/>
            </a:endParaRPr>
          </a:p>
          <a:p>
            <a:endParaRPr lang="en-IE" sz="1000" b="1" dirty="0">
              <a:solidFill>
                <a:srgbClr val="000000"/>
              </a:solidFill>
              <a:latin typeface="EYInterstate" pitchFamily="2" charset="0"/>
            </a:endParaRPr>
          </a:p>
          <a:p>
            <a:r>
              <a:rPr lang="en-IE" sz="1000" b="1" dirty="0">
                <a:solidFill>
                  <a:srgbClr val="000000"/>
                </a:solidFill>
                <a:latin typeface="EYInterstate" pitchFamily="2" charset="0"/>
              </a:rPr>
              <a:t>Certifications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►"/>
            </a:pPr>
            <a:r>
              <a:rPr lang="en-IE" dirty="0">
                <a:latin typeface="EYInterstate Light" pitchFamily="2" charset="0"/>
                <a:cs typeface="Arial" charset="0"/>
              </a:rPr>
              <a:t>Please include relevant certifica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739EB3-DA24-4C3D-89B0-E2987FC5F5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ln>
            <a:solidFill>
              <a:schemeClr val="accent5"/>
            </a:solidFill>
          </a:ln>
        </p:spPr>
        <p:txBody>
          <a:bodyPr/>
          <a:lstStyle/>
          <a:p>
            <a:r>
              <a:rPr lang="en-IE" altLang="en-US" sz="1000" b="1" dirty="0">
                <a:solidFill>
                  <a:srgbClr val="000000"/>
                </a:solidFill>
                <a:latin typeface="EYInterstate" pitchFamily="2" charset="0"/>
              </a:rPr>
              <a:t>Irish Airlines – Automation Engineer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esponsible for converting manual test cases to automated test cases and executing smoke tests whenever new changes were made to the Development environment.</a:t>
            </a: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N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erformed System, End to End and Regression testing after enhancements to functionality and product upgrades.</a:t>
            </a: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sz="800" dirty="0">
                <a:solidFill>
                  <a:srgbClr val="000000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reated and prioritized test cases and raised defects in JIRA(Zephyr) and confluence. 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oactively reviewed automated test suites and investigated</a:t>
            </a: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and resolved weaknesses and problem areas with the software.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sz="800" dirty="0">
                <a:solidFill>
                  <a:srgbClr val="00000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articipated in all the scrum activities with in the team.</a:t>
            </a: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kern="1200" dirty="0">
              <a:latin typeface="EYInterstate Light" pitchFamily="2" charset="0"/>
              <a:cs typeface="Arial" charset="0"/>
            </a:endParaRPr>
          </a:p>
          <a:p>
            <a:pPr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tabLst>
                <a:tab pos="3228975" algn="l"/>
                <a:tab pos="4665663" algn="r"/>
              </a:tabLst>
            </a:pPr>
            <a:r>
              <a:rPr lang="en-IE" altLang="en-US" sz="1000" b="1" dirty="0">
                <a:solidFill>
                  <a:srgbClr val="000000"/>
                </a:solidFill>
                <a:latin typeface="EYInterstate" pitchFamily="2" charset="0"/>
              </a:rPr>
              <a:t>Financial Services Company – Automation Engineer</a:t>
            </a:r>
            <a:endParaRPr lang="en-IE" sz="1000" kern="1200" dirty="0">
              <a:latin typeface="EYInterstate Light" pitchFamily="2" charset="0"/>
              <a:cs typeface="Arial" charset="0"/>
            </a:endParaRP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esigned, executed, and maintained Selenium Webdriver (TestNG) automated test scripts for regression testing.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Proposed improvements to current practices, highlighted problem areas and ensured that approved enhancements were fully implemented, and repeat errors were eliminated.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sz="800" dirty="0">
                <a:solidFill>
                  <a:srgbClr val="000000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dentified test requirements by analysing available documentation </a:t>
            </a:r>
            <a:r>
              <a:rPr lang="en-IE" sz="800" dirty="0" err="1">
                <a:solidFill>
                  <a:srgbClr val="000000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eg.</a:t>
            </a:r>
            <a:r>
              <a:rPr lang="en-IE" sz="800" dirty="0">
                <a:solidFill>
                  <a:srgbClr val="000000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Technical specifications.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esigned and created automation frameworks using Java, Selenium Webdriver, Test NG, Maven, and Jenkin tools with hands-on experience in using GIT and API   testing with Postman.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rganized and scheduled testing</a:t>
            </a: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ctivities including test plans and test case preparation and used Jenkins integrations for nightly runs.</a:t>
            </a:r>
            <a:r>
              <a:rPr lang="en-IE" sz="8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aised defects in Jira and participated in troubleshooting, defect triage and tracking for root cause </a:t>
            </a:r>
            <a:r>
              <a:rPr lang="en-GB" sz="800" dirty="0" err="1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nalyis</a:t>
            </a: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and investigation.</a:t>
            </a:r>
            <a:r>
              <a:rPr lang="en-IE" sz="8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IE" sz="800" dirty="0">
              <a:latin typeface="+mn-lt"/>
            </a:endParaRP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kern="1200" dirty="0">
              <a:latin typeface="EYInterstate Light" pitchFamily="2" charset="0"/>
              <a:cs typeface="Arial" charset="0"/>
            </a:endParaRP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kern="1200" dirty="0">
              <a:latin typeface="EYInterstate Light" pitchFamily="2" charset="0"/>
              <a:cs typeface="Arial" charset="0"/>
            </a:endParaRPr>
          </a:p>
          <a:p>
            <a:pPr defTabSz="995363">
              <a:spcAft>
                <a:spcPct val="50000"/>
              </a:spcAft>
              <a:buClr>
                <a:schemeClr val="tx1"/>
              </a:buClr>
              <a:tabLst>
                <a:tab pos="3228975" algn="l"/>
                <a:tab pos="4665663" algn="r"/>
              </a:tabLst>
            </a:pPr>
            <a:endParaRPr lang="en-IE" sz="1000" dirty="0">
              <a:latin typeface="EYInterstate Light" pitchFamily="2" charset="0"/>
              <a:cs typeface="Arial" charset="0"/>
            </a:endParaRPr>
          </a:p>
          <a:p>
            <a:endParaRPr lang="en-IE" sz="900" kern="1200" dirty="0">
              <a:latin typeface="EYInterstate Light" pitchFamily="2" charset="0"/>
              <a:cs typeface="Arial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7C3C38-0E68-4003-9873-469B51CAE3E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ln>
            <a:solidFill>
              <a:schemeClr val="accent5"/>
            </a:solidFill>
          </a:ln>
        </p:spPr>
        <p:txBody>
          <a:bodyPr/>
          <a:lstStyle/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nalysed Business Requirements and technical specifications and liaised with Business Teams to clarify requirements.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epared Requirement Traceability Matrix. </a:t>
            </a: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epared detailed status reports on test progress and defects.</a:t>
            </a: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sz="800" dirty="0">
              <a:solidFill>
                <a:srgbClr val="000000"/>
              </a:solidFill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7800" indent="-177800" defTabSz="995363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75000"/>
              <a:buFont typeface="Arial" charset="0"/>
              <a:buChar char="►"/>
              <a:tabLst>
                <a:tab pos="3228975" algn="l"/>
                <a:tab pos="4665663" algn="r"/>
              </a:tabLst>
            </a:pP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I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2DE520-CFBA-4B9E-B4CC-B50BD51BC8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A56513-F998-4254-9CEB-F507EE6F3742}" type="slidenum">
              <a:rPr lang="en-IE" smtClean="0"/>
              <a:pPr/>
              <a:t>3</a:t>
            </a:fld>
            <a:endParaRPr lang="en-I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A8051D-6570-4EB8-B278-902403E875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lvl="1"/>
            <a:r>
              <a:rPr lang="en-IE" dirty="0"/>
              <a:t>Naveen Banagani</a:t>
            </a:r>
            <a:endParaRPr lang="en-IE" kern="0" dirty="0"/>
          </a:p>
          <a:p>
            <a:pPr lvl="1">
              <a:spcAft>
                <a:spcPts val="398"/>
              </a:spcAft>
            </a:pPr>
            <a:r>
              <a:rPr lang="en-IE" sz="700" kern="0" dirty="0"/>
              <a:t>Senior Consultant, Technology Consulting</a:t>
            </a:r>
          </a:p>
          <a:p>
            <a:pPr lvl="1">
              <a:spcAft>
                <a:spcPts val="398"/>
              </a:spcAft>
            </a:pPr>
            <a:r>
              <a:rPr lang="en-IE" sz="700" dirty="0"/>
              <a:t>Digital Assurance &amp; Testing</a:t>
            </a:r>
            <a:endParaRPr lang="en-IE" sz="700" kern="0" dirty="0"/>
          </a:p>
          <a:p>
            <a:pPr lvl="1">
              <a:spcAft>
                <a:spcPts val="398"/>
              </a:spcAft>
            </a:pPr>
            <a:r>
              <a:rPr lang="en-IE" sz="700" kern="0" dirty="0"/>
              <a:t>Direct: +353 899529291</a:t>
            </a:r>
          </a:p>
          <a:p>
            <a:pPr lvl="1">
              <a:spcAft>
                <a:spcPts val="398"/>
              </a:spcAft>
            </a:pPr>
            <a:r>
              <a:rPr lang="en-IE" sz="700" kern="0" dirty="0"/>
              <a:t>Email: </a:t>
            </a:r>
            <a:r>
              <a:rPr lang="en-IE" sz="700" dirty="0"/>
              <a:t>Naveen.Banagani</a:t>
            </a:r>
            <a:r>
              <a:rPr lang="en-IE" sz="700" kern="0" dirty="0"/>
              <a:t>@ie.ey.com</a:t>
            </a:r>
          </a:p>
          <a:p>
            <a:endParaRPr lang="en-IE" dirty="0"/>
          </a:p>
        </p:txBody>
      </p:sp>
      <p:pic>
        <p:nvPicPr>
          <p:cNvPr id="12" name="Picture 11" descr="A person with a beard and mustache&#10;&#10;Description automatically generated with low confidence">
            <a:extLst>
              <a:ext uri="{FF2B5EF4-FFF2-40B4-BE49-F238E27FC236}">
                <a16:creationId xmlns:a16="http://schemas.microsoft.com/office/drawing/2014/main" id="{13AB2328-E9B1-4E7B-A80D-2E2B296B037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594" y="762827"/>
            <a:ext cx="811566" cy="1143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010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111AA7C-148E-42D6-96B2-9769E26CBD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95363"/>
            <a:r>
              <a:rPr lang="en-IE" noProof="0"/>
              <a:t>[Document title]</a:t>
            </a:r>
            <a:endParaRPr lang="en-IE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A35AD5-31AA-4314-90E6-CC4390418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A56513-F998-4254-9CEB-F507EE6F3742}" type="slidenum">
              <a:rPr lang="en-IE" noProof="0" smtClean="0"/>
              <a:pPr/>
              <a:t>4</a:t>
            </a:fld>
            <a:endParaRPr lang="en-IE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84891E-51D4-466D-8BB8-EB39034D17A0}"/>
              </a:ext>
            </a:extLst>
          </p:cNvPr>
          <p:cNvSpPr txBox="1"/>
          <p:nvPr/>
        </p:nvSpPr>
        <p:spPr>
          <a:xfrm>
            <a:off x="2818754" y="2172989"/>
            <a:ext cx="5343040" cy="1240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esigned and created automation frameworks using Java, Selenium Webdriver, Test NG, Maven, and Jenkin tools with hands-on experience in using GIT and API   testing with Postman. </a:t>
            </a: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rganized and scheduled testing</a:t>
            </a: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    </a:t>
            </a: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ctivities including test plans and test case preparation and used Jenkins integrations for nightly runs.</a:t>
            </a:r>
            <a:r>
              <a:rPr lang="en-IE" sz="8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aised defects in Jira and participated in troubleshooting, defect triage and tracking for root cause </a:t>
            </a:r>
            <a:r>
              <a:rPr lang="en-GB" sz="800" dirty="0" err="1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nalyis</a:t>
            </a: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and investigation.</a:t>
            </a:r>
            <a:r>
              <a:rPr lang="en-IE" sz="8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nalysed Business Requirements and technical specifications and liaised with Business Teams to clarify requirements. </a:t>
            </a:r>
            <a:r>
              <a:rPr lang="en-IE" sz="8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E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epared Requirement Traceability Matrix. </a:t>
            </a:r>
            <a:r>
              <a:rPr lang="en-GB" sz="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epared detailed status reports on test progress and defects.</a:t>
            </a:r>
            <a:endParaRPr lang="en-IE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endParaRPr lang="en-IE" sz="800" dirty="0">
              <a:latin typeface="+mn-lt"/>
            </a:endParaRPr>
          </a:p>
        </p:txBody>
      </p:sp>
      <p:pic>
        <p:nvPicPr>
          <p:cNvPr id="7" name="Picture 6" descr="A person with a beard and mustache&#10;&#10;Description automatically generated with low confidence">
            <a:extLst>
              <a:ext uri="{FF2B5EF4-FFF2-40B4-BE49-F238E27FC236}">
                <a16:creationId xmlns:a16="http://schemas.microsoft.com/office/drawing/2014/main" id="{4A17E874-B5D3-408E-AF36-6197FC796F4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2018" y="3491151"/>
            <a:ext cx="603778" cy="792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567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_Letter_Proposal_Landscape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3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9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 marL="111125" indent="-111125" defTabSz="1019175">
          <a:lnSpc>
            <a:spcPts val="1200"/>
          </a:lnSpc>
          <a:spcBef>
            <a:spcPts val="0"/>
          </a:spcBef>
          <a:spcAft>
            <a:spcPts val="600"/>
          </a:spcAft>
          <a:buClr>
            <a:schemeClr val="bg1"/>
          </a:buClr>
          <a:buSzPct val="70000"/>
          <a:buFont typeface="Arial" panose="020B0604020202020204" pitchFamily="34" charset="0"/>
          <a:buChar char="►"/>
          <a:defRPr sz="900" dirty="0" err="1" smtClean="0">
            <a:latin typeface="+mn-lt"/>
          </a:defRPr>
        </a:defPPr>
      </a:lstStyle>
    </a:txDef>
  </a:objectDefaults>
  <a:extraClrSchemeLst>
    <a:extraClrScheme>
      <a:clrScheme name="EY 2015 colors">
        <a:dk1>
          <a:srgbClr val="000000"/>
        </a:dk1>
        <a:lt1>
          <a:srgbClr val="646464"/>
        </a:lt1>
        <a:dk2>
          <a:srgbClr val="FFFFFF"/>
        </a:dk2>
        <a:lt2>
          <a:srgbClr val="333333"/>
        </a:lt2>
        <a:accent1>
          <a:srgbClr val="808080"/>
        </a:accent1>
        <a:accent2>
          <a:srgbClr val="FFE600"/>
        </a:accent2>
        <a:accent3>
          <a:srgbClr val="999999"/>
        </a:accent3>
        <a:accent4>
          <a:srgbClr val="F0F0F0"/>
        </a:accent4>
        <a:accent5>
          <a:srgbClr val="00A3AE"/>
        </a:accent5>
        <a:accent6>
          <a:srgbClr val="C0C0C0"/>
        </a:accent6>
        <a:hlink>
          <a:srgbClr val="336699"/>
        </a:hlink>
        <a:folHlink>
          <a:srgbClr val="9127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Y PowerPoint Printed (Landscape).potx" id="{4AE83751-1A3E-447B-94A5-53846CF1F4C8}" vid="{281E42F6-2EA1-41F2-A1CA-899ACFB1752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Y PowerPoint Printed (Landscape)</Template>
  <TotalTime>56</TotalTime>
  <Words>730</Words>
  <Application>Microsoft Office PowerPoint</Application>
  <PresentationFormat>Custom</PresentationFormat>
  <Paragraphs>93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Arial Unicode MS</vt:lpstr>
      <vt:lpstr>Calibri</vt:lpstr>
      <vt:lpstr>EYInterstate</vt:lpstr>
      <vt:lpstr>EYInterstate Light</vt:lpstr>
      <vt:lpstr>EY_Letter_Proposal_Landscape</vt:lpstr>
      <vt:lpstr>think-cell Slide</vt:lpstr>
      <vt:lpstr>MCSG Sample CV Pack</vt:lpstr>
      <vt:lpstr>Guideline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SG Sample CV Pack</dc:title>
  <dc:creator>Colm Cosgrove</dc:creator>
  <cp:lastModifiedBy>Naveen Banagani</cp:lastModifiedBy>
  <cp:revision>7</cp:revision>
  <dcterms:created xsi:type="dcterms:W3CDTF">2023-04-28T15:47:07Z</dcterms:created>
  <dcterms:modified xsi:type="dcterms:W3CDTF">2023-05-04T09:1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Version">
    <vt:lpwstr>Version 1.0</vt:lpwstr>
  </property>
  <property fmtid="{D5CDD505-2E9C-101B-9397-08002B2CF9AE}" pid="3" name="WppReportDraft">
    <vt:lpwstr>(Draft)</vt:lpwstr>
  </property>
  <property fmtid="{D5CDD505-2E9C-101B-9397-08002B2CF9AE}" pid="4" name="WppReportDate">
    <vt:lpwstr/>
  </property>
  <property fmtid="{D5CDD505-2E9C-101B-9397-08002B2CF9AE}" pid="5" name="WppReportCurrencySymbol">
    <vt:lpwstr>€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20-07-24T10:40:09Z</vt:filetime>
  </property>
</Properties>
</file>